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15-4A93-B7E0-33974BF98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15-4A93-B7E0-33974BF98C9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15-4A93-B7E0-33974BF98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0097C05C-2B89-4D4A-AC8A-5F88E4CBD133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A4A95D-25BD-97B7-EEB4-BA340E152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301FB3-9637-CD14-631F-D8978110E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01FB3-9637-CD14-631F-D8978110E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1F53B22-80B2-EF6F-C2E8-92588860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 / Stacked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40955BC-2184-2F8C-F9B3-599EA53D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AF95B0E-8DF0-B558-2C43-05748C1E90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921F301-5C72-3953-6AC6-F2CD66E600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B1C9DC4-A9CB-7773-6D03-48B68A5F247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B6DE4B4F-CBEC-A237-B727-72928D8DCBFC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B6DE4B4F-CBEC-A237-B727-72928D8DCBF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6" name="Chart Placeholder 6">
            <a:extLst>
              <a:ext uri="{FF2B5EF4-FFF2-40B4-BE49-F238E27FC236}">
                <a16:creationId xmlns:a16="http://schemas.microsoft.com/office/drawing/2014/main" id="{2B49E178-327E-56FD-B32E-26AB8BC771F0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3542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9</TotalTime>
  <Words>2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 / Stack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5</cp:revision>
  <dcterms:created xsi:type="dcterms:W3CDTF">2025-07-09T10:57:17Z</dcterms:created>
  <dcterms:modified xsi:type="dcterms:W3CDTF">2025-10-22T10:13:59Z</dcterms:modified>
  <cp:category/>
</cp:coreProperties>
</file>